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49"/>
  </p:notesMasterIdLst>
  <p:sldIdLst>
    <p:sldId id="281" r:id="rId2"/>
    <p:sldId id="282" r:id="rId3"/>
    <p:sldId id="447" r:id="rId4"/>
    <p:sldId id="316" r:id="rId5"/>
    <p:sldId id="324" r:id="rId6"/>
    <p:sldId id="393" r:id="rId7"/>
    <p:sldId id="339" r:id="rId8"/>
    <p:sldId id="423" r:id="rId9"/>
    <p:sldId id="433" r:id="rId10"/>
    <p:sldId id="435" r:id="rId11"/>
    <p:sldId id="437" r:id="rId12"/>
    <p:sldId id="438" r:id="rId13"/>
    <p:sldId id="440" r:id="rId14"/>
    <p:sldId id="441" r:id="rId15"/>
    <p:sldId id="442" r:id="rId16"/>
    <p:sldId id="443" r:id="rId17"/>
    <p:sldId id="448" r:id="rId18"/>
    <p:sldId id="343" r:id="rId19"/>
    <p:sldId id="461" r:id="rId20"/>
    <p:sldId id="449" r:id="rId21"/>
    <p:sldId id="427" r:id="rId22"/>
    <p:sldId id="428" r:id="rId23"/>
    <p:sldId id="467" r:id="rId24"/>
    <p:sldId id="418" r:id="rId25"/>
    <p:sldId id="465" r:id="rId26"/>
    <p:sldId id="468" r:id="rId27"/>
    <p:sldId id="470" r:id="rId28"/>
    <p:sldId id="469" r:id="rId29"/>
    <p:sldId id="475" r:id="rId30"/>
    <p:sldId id="471" r:id="rId31"/>
    <p:sldId id="477" r:id="rId32"/>
    <p:sldId id="478" r:id="rId33"/>
    <p:sldId id="479" r:id="rId34"/>
    <p:sldId id="480" r:id="rId35"/>
    <p:sldId id="481" r:id="rId36"/>
    <p:sldId id="430" r:id="rId37"/>
    <p:sldId id="328" r:id="rId38"/>
    <p:sldId id="432" r:id="rId39"/>
    <p:sldId id="426" r:id="rId40"/>
    <p:sldId id="444" r:id="rId41"/>
    <p:sldId id="484" r:id="rId42"/>
    <p:sldId id="487" r:id="rId43"/>
    <p:sldId id="485" r:id="rId44"/>
    <p:sldId id="488" r:id="rId45"/>
    <p:sldId id="489" r:id="rId46"/>
    <p:sldId id="490" r:id="rId47"/>
    <p:sldId id="491" r:id="rId48"/>
  </p:sldIdLst>
  <p:sldSz cx="12192000" cy="6858000"/>
  <p:notesSz cx="6858000" cy="9144000"/>
  <p:custDataLst>
    <p:tags r:id="rId5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88"/>
            <p14:sldId id="489"/>
            <p14:sldId id="490"/>
            <p14:sldId id="491"/>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52" autoAdjust="0"/>
    <p:restoredTop sz="91839" autoAdjust="0"/>
  </p:normalViewPr>
  <p:slideViewPr>
    <p:cSldViewPr snapToGrid="0">
      <p:cViewPr>
        <p:scale>
          <a:sx n="100" d="100"/>
          <a:sy n="100" d="100"/>
        </p:scale>
        <p:origin x="1314" y="186"/>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3.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4.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5.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7.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oleObject" Target="../embeddings/oleObject3.bin"/><Relationship Id="rId7" Type="http://schemas.openxmlformats.org/officeDocument/2006/relationships/image" Target="../media/image83.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1.png"/><Relationship Id="rId5" Type="http://schemas.openxmlformats.org/officeDocument/2006/relationships/image" Target="../media/image82.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7.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7.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1.png"/><Relationship Id="rId11" Type="http://schemas.openxmlformats.org/officeDocument/2006/relationships/image" Target="../media/image89.png"/><Relationship Id="rId5" Type="http://schemas.openxmlformats.org/officeDocument/2006/relationships/image" Target="../media/image82.png"/><Relationship Id="rId10" Type="http://schemas.openxmlformats.org/officeDocument/2006/relationships/image" Target="../media/image84.svg"/><Relationship Id="rId4" Type="http://schemas.openxmlformats.org/officeDocument/2006/relationships/image" Target="../media/image1.emf"/><Relationship Id="rId9" Type="http://schemas.openxmlformats.org/officeDocument/2006/relationships/image" Target="../media/image83.png"/><Relationship Id="rId14" Type="http://schemas.openxmlformats.org/officeDocument/2006/relationships/image" Target="../media/image92.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7.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862763" y="328259"/>
            <a:ext cx="2665611" cy="1821146"/>
            <a:chOff x="6862763" y="328259"/>
            <a:chExt cx="2665611" cy="1821146"/>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862763" y="328259"/>
              <a:ext cx="2665611" cy="1821146"/>
              <a:chOff x="7857637" y="52576"/>
              <a:chExt cx="2665611" cy="1821146"/>
            </a:xfrm>
          </p:grpSpPr>
          <p:sp>
            <p:nvSpPr>
              <p:cNvPr id="20" name="Ellipse 19"/>
              <p:cNvSpPr/>
              <p:nvPr/>
            </p:nvSpPr>
            <p:spPr>
              <a:xfrm>
                <a:off x="9820135" y="1392999"/>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857637" y="5257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7</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0</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6</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7654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690231" y="189230"/>
            <a:ext cx="4996444" cy="5715356"/>
            <a:chOff x="2690231" y="189230"/>
            <a:chExt cx="4996444" cy="5715356"/>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89230"/>
              <a:ext cx="4996444" cy="5715356"/>
              <a:chOff x="2690231" y="189230"/>
              <a:chExt cx="4996444" cy="5715356"/>
            </a:xfrm>
          </p:grpSpPr>
          <p:sp>
            <p:nvSpPr>
              <p:cNvPr id="22" name="Rectangle 34">
                <a:extLst>
                  <a:ext uri="{FF2B5EF4-FFF2-40B4-BE49-F238E27FC236}">
                    <a16:creationId xmlns:a16="http://schemas.microsoft.com/office/drawing/2014/main" id="{BCC3C5A0-7C53-53ED-C307-DC03F5BA7D39}"/>
                  </a:ext>
                </a:extLst>
              </p:cNvPr>
              <p:cNvSpPr/>
              <p:nvPr/>
            </p:nvSpPr>
            <p:spPr>
              <a:xfrm>
                <a:off x="2756152" y="189230"/>
                <a:ext cx="4930523" cy="570433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5707736"/>
                <a:chOff x="2690231" y="196850"/>
                <a:chExt cx="4996444" cy="5707736"/>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5707736"/>
                  <a:chOff x="2690231" y="196850"/>
                  <a:chExt cx="4996444" cy="5707736"/>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5707736"/>
                    <a:chOff x="2690231" y="196850"/>
                    <a:chExt cx="4996444" cy="5707736"/>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5707736"/>
                      <a:chOff x="2690231" y="196850"/>
                      <a:chExt cx="4996444" cy="5707736"/>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5707736"/>
                        <a:chOff x="4445879" y="-158352"/>
                        <a:chExt cx="4996444" cy="5707736"/>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5707736"/>
                          <a:chOff x="4445879" y="-158352"/>
                          <a:chExt cx="4996444" cy="5707736"/>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5707736"/>
                            <a:chOff x="4618443" y="-5196"/>
                            <a:chExt cx="4996444" cy="5707736"/>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996444" cy="5675647"/>
                              <a:chOff x="4618443" y="26893"/>
                              <a:chExt cx="4996444" cy="5675647"/>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996444" cy="5675647"/>
                                <a:chOff x="4618443" y="26893"/>
                                <a:chExt cx="4996444" cy="5675647"/>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996444" cy="5675647"/>
                                  <a:chOff x="4618443" y="26893"/>
                                  <a:chExt cx="4996444" cy="5675647"/>
                                </a:xfrm>
                              </p:grpSpPr>
                              <mc:AlternateContent xmlns:mc="http://schemas.openxmlformats.org/markup-compatibility/2006">
                                <mc:Choice xmlns:a14="http://schemas.microsoft.com/office/drawing/2010/main"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a:t>
                                        </a:r>
                                      </a:p>
                                      <a:p>
                                        <a:pPr defTabSz="1088333">
                                          <a:buClrTx/>
                                        </a:pPr>
                                        <a:endParaRPr lang="en-US" sz="1200" kern="1200" dirty="0">
                                          <a:solidFill>
                                            <a:prstClr val="white"/>
                                          </a:solidFill>
                                          <a:latin typeface="Daimler CS" pitchFamily="2" charset="0"/>
                                        </a:endParaRPr>
                                      </a:p>
                                    </p:txBody>
                                  </p:sp>
                                </mc:Choice>
                                <mc:Fallback>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996444" cy="5675647"/>
                                    <a:chOff x="3729626" y="597024"/>
                                    <a:chExt cx="4996444" cy="5675647"/>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996444" cy="5675647"/>
                                      <a:chOff x="4675145" y="777136"/>
                                      <a:chExt cx="4996444" cy="5675647"/>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3792996"/>
                                        <a:chOff x="2850775" y="2703757"/>
                                        <a:chExt cx="4930523" cy="3792996"/>
                                      </a:xfrm>
                                    </p:grpSpPr>
                                    <mc:AlternateContent xmlns:mc="http://schemas.openxmlformats.org/markup-compatibility/2006">
                                      <mc:Choice xmlns:a14="http://schemas.microsoft.com/office/drawing/2010/main"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1647567"/>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164756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mc:Choice xmlns:a14="http://schemas.microsoft.com/office/drawing/2010/main"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s</a:t>
                                              </a:r>
                                            </a:p>
                                          </p:txBody>
                                        </p:sp>
                                      </mc:Choice>
                                      <mc:Fallback>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Confirmation</a:t>
                  </a:r>
                  <a:endParaRPr lang="de-DE" sz="18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632486" y="80308"/>
            <a:ext cx="4215864" cy="6659283"/>
            <a:chOff x="3632736" y="-66675"/>
            <a:chExt cx="4215864" cy="6659283"/>
          </a:xfrm>
        </p:grpSpPr>
        <p:sp>
          <p:nvSpPr>
            <p:cNvPr id="19" name="Rechteck 18">
              <a:extLst>
                <a:ext uri="{FF2B5EF4-FFF2-40B4-BE49-F238E27FC236}">
                  <a16:creationId xmlns:a16="http://schemas.microsoft.com/office/drawing/2014/main" id="{EECCDEF0-5E45-804D-745D-F949B80BEC5E}"/>
                </a:ext>
              </a:extLst>
            </p:cNvPr>
            <p:cNvSpPr/>
            <p:nvPr/>
          </p:nvSpPr>
          <p:spPr>
            <a:xfrm>
              <a:off x="3632736" y="-66675"/>
              <a:ext cx="4215864" cy="6654092"/>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632736" y="0"/>
              <a:ext cx="4215864" cy="6592608"/>
              <a:chOff x="3651786" y="176811"/>
              <a:chExt cx="4215864" cy="6592608"/>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651786" y="176811"/>
                <a:ext cx="4215864" cy="6592608"/>
                <a:chOff x="1490477" y="1988211"/>
                <a:chExt cx="4215864" cy="6592608"/>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490477" y="2258794"/>
                  <a:ext cx="4215864" cy="6322025"/>
                  <a:chOff x="1490477" y="2258794"/>
                  <a:chExt cx="4215864" cy="6322025"/>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5619098"/>
                    <a:ext cx="3938865" cy="2681614"/>
                  </a:xfrm>
                  <a:prstGeom prst="rect">
                    <a:avLst/>
                  </a:prstGeom>
                </p:spPr>
              </p:pic>
              <p:sp>
                <p:nvSpPr>
                  <p:cNvPr id="197" name="Textfeld 196">
                    <a:extLst>
                      <a:ext uri="{FF2B5EF4-FFF2-40B4-BE49-F238E27FC236}">
                        <a16:creationId xmlns:a16="http://schemas.microsoft.com/office/drawing/2014/main" id="{1B34C028-923D-E300-49A5-43459286CA75}"/>
                      </a:ext>
                    </a:extLst>
                  </p:cNvPr>
                  <p:cNvSpPr txBox="1"/>
                  <p:nvPr/>
                </p:nvSpPr>
                <p:spPr>
                  <a:xfrm rot="16200000">
                    <a:off x="372519" y="6764725"/>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199" name="Textfeld 198">
                    <a:extLst>
                      <a:ext uri="{FF2B5EF4-FFF2-40B4-BE49-F238E27FC236}">
                        <a16:creationId xmlns:a16="http://schemas.microsoft.com/office/drawing/2014/main" id="{39AF27F0-7E29-50E6-ADAD-6C19AD3A5E00}"/>
                      </a:ext>
                    </a:extLst>
                  </p:cNvPr>
                  <p:cNvSpPr txBox="1"/>
                  <p:nvPr/>
                </p:nvSpPr>
                <p:spPr>
                  <a:xfrm>
                    <a:off x="3023948" y="83038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535804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2" name="Textfeld 1">
            <a:extLst>
              <a:ext uri="{FF2B5EF4-FFF2-40B4-BE49-F238E27FC236}">
                <a16:creationId xmlns:a16="http://schemas.microsoft.com/office/drawing/2014/main" id="{916C4B45-AA4A-1115-EE26-364C6AAB530F}"/>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721056932"/>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65" name="Gruppieren 2564">
                <a:extLst>
                  <a:ext uri="{FF2B5EF4-FFF2-40B4-BE49-F238E27FC236}">
                    <a16:creationId xmlns:a16="http://schemas.microsoft.com/office/drawing/2014/main" id="{37EA0249-DBEA-5E9E-20EE-91886C8E08F9}"/>
                  </a:ext>
                </a:extLst>
              </p:cNvPr>
              <p:cNvGrpSpPr/>
              <p:nvPr/>
            </p:nvGrpSpPr>
            <p:grpSpPr>
              <a:xfrm>
                <a:off x="6552107" y="1797529"/>
                <a:ext cx="2368438" cy="397974"/>
                <a:chOff x="6509819" y="1164970"/>
                <a:chExt cx="2368438" cy="397974"/>
              </a:xfrm>
            </p:grpSpPr>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464946" y="259659"/>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pic>
              <p:nvPicPr>
                <p:cNvPr id="2642" name="Grafik 2641" descr="Aktualisieren Silhouette">
                  <a:extLst>
                    <a:ext uri="{FF2B5EF4-FFF2-40B4-BE49-F238E27FC236}">
                      <a16:creationId xmlns:a16="http://schemas.microsoft.com/office/drawing/2014/main" id="{1CC74BC5-456E-F7AA-E728-CA2B80819E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34257" y="1165749"/>
                  <a:ext cx="144000" cy="144000"/>
                </a:xfrm>
                <a:prstGeom prst="rect">
                  <a:avLst/>
                </a:prstGeom>
              </p:spPr>
            </p:pic>
            <p:pic>
              <p:nvPicPr>
                <p:cNvPr id="2643" name="Grafik 2642" descr="Aktualisieren Silhouette">
                  <a:extLst>
                    <a:ext uri="{FF2B5EF4-FFF2-40B4-BE49-F238E27FC236}">
                      <a16:creationId xmlns:a16="http://schemas.microsoft.com/office/drawing/2014/main" id="{61B03561-2C6C-43F1-0029-1F0D3515D8C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62287" y="1165799"/>
                  <a:ext cx="144000" cy="144000"/>
                </a:xfrm>
                <a:prstGeom prst="rect">
                  <a:avLst/>
                </a:prstGeom>
              </p:spPr>
            </p:pic>
            <p:pic>
              <p:nvPicPr>
                <p:cNvPr id="2644" name="Grafik 2643" descr="Aktualisieren Silhouette">
                  <a:extLst>
                    <a:ext uri="{FF2B5EF4-FFF2-40B4-BE49-F238E27FC236}">
                      <a16:creationId xmlns:a16="http://schemas.microsoft.com/office/drawing/2014/main" id="{95F43685-59BB-DF7D-D5BA-3F38B09EE56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89092" y="1164970"/>
                  <a:ext cx="144000" cy="144000"/>
                </a:xfrm>
                <a:prstGeom prst="rect">
                  <a:avLst/>
                </a:prstGeom>
              </p:spPr>
            </p:pic>
            <p:pic>
              <p:nvPicPr>
                <p:cNvPr id="2645" name="Grafik 2644" descr="Aktualisieren Silhouette">
                  <a:extLst>
                    <a:ext uri="{FF2B5EF4-FFF2-40B4-BE49-F238E27FC236}">
                      <a16:creationId xmlns:a16="http://schemas.microsoft.com/office/drawing/2014/main" id="{AAD2E6E1-7053-E4F7-BAC0-49569B54F1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34936" y="1168130"/>
                  <a:ext cx="144000" cy="144000"/>
                </a:xfrm>
                <a:prstGeom prst="rect">
                  <a:avLst/>
                </a:prstGeom>
              </p:spPr>
            </p:pic>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mc:Choice xmlns:a14="http://schemas.microsoft.com/office/drawing/2010/main"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r>
              <a:rPr lang="de-DE" sz="1100" dirty="0">
                <a:solidFill>
                  <a:srgbClr val="C6CDD5"/>
                </a:solidFill>
                <a:latin typeface="-apple-system"/>
              </a:rPr>
              <a:t>Sie sich</a:t>
            </a:r>
            <a:endParaRPr lang="de-DE" sz="1100" dirty="0">
              <a:solidFill>
                <a:schemeClr val="accent1"/>
              </a:solidFill>
              <a:latin typeface="Daimler CS" pitchFamily="2" charset="0"/>
            </a:endParaRPr>
          </a:p>
        </p:txBody>
      </p:sp>
      <mc:AlternateContent xmlns:mc="http://schemas.openxmlformats.org/markup-compatibility/2006">
        <mc:Choice xmlns:a14="http://schemas.microsoft.com/office/drawing/2010/main" Requires="a14">
          <p:sp>
            <p:nvSpPr>
              <p:cNvPr id="20" name="Textfeld 19">
                <a:extLst>
                  <a:ext uri="{FF2B5EF4-FFF2-40B4-BE49-F238E27FC236}">
                    <a16:creationId xmlns:a16="http://schemas.microsoft.com/office/drawing/2014/main" id="{AD7319F4-CC4C-C369-2272-406C305AD0E7}"/>
                  </a:ext>
                </a:extLst>
              </p:cNvPr>
              <p:cNvSpPr txBox="1"/>
              <p:nvPr/>
            </p:nvSpPr>
            <p:spPr>
              <a:xfrm>
                <a:off x="10854602" y="16013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20" name="Textfeld 19">
                <a:extLst>
                  <a:ext uri="{FF2B5EF4-FFF2-40B4-BE49-F238E27FC236}">
                    <a16:creationId xmlns:a16="http://schemas.microsoft.com/office/drawing/2014/main" id="{AD7319F4-CC4C-C369-2272-406C305AD0E7}"/>
                  </a:ext>
                </a:extLst>
              </p:cNvPr>
              <p:cNvSpPr txBox="1">
                <a:spLocks noRot="1" noChangeAspect="1" noMove="1" noResize="1" noEditPoints="1" noAdjustHandles="1" noChangeArrowheads="1" noChangeShapeType="1" noTextEdit="1"/>
              </p:cNvSpPr>
              <p:nvPr/>
            </p:nvSpPr>
            <p:spPr>
              <a:xfrm>
                <a:off x="10854602" y="1601328"/>
                <a:ext cx="513909" cy="317203"/>
              </a:xfrm>
              <a:prstGeom prst="rect">
                <a:avLst/>
              </a:prstGeom>
              <a:blipFill>
                <a:blip r:embed="rId7"/>
                <a:stretch>
                  <a:fillRect/>
                </a:stretch>
              </a:blipFill>
              <a:ln w="6350">
                <a:noFill/>
              </a:ln>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21" name="Textfeld 20">
                <a:extLst>
                  <a:ext uri="{FF2B5EF4-FFF2-40B4-BE49-F238E27FC236}">
                    <a16:creationId xmlns:a16="http://schemas.microsoft.com/office/drawing/2014/main" id="{08817878-1906-D042-DBC7-D743975B7D25}"/>
                  </a:ext>
                </a:extLst>
              </p:cNvPr>
              <p:cNvSpPr txBox="1"/>
              <p:nvPr/>
            </p:nvSpPr>
            <p:spPr>
              <a:xfrm>
                <a:off x="10156003" y="200488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p:sp>
            <p:nvSpPr>
              <p:cNvPr id="21" name="Textfeld 20">
                <a:extLst>
                  <a:ext uri="{FF2B5EF4-FFF2-40B4-BE49-F238E27FC236}">
                    <a16:creationId xmlns:a16="http://schemas.microsoft.com/office/drawing/2014/main" id="{08817878-1906-D042-DBC7-D743975B7D25}"/>
                  </a:ext>
                </a:extLst>
              </p:cNvPr>
              <p:cNvSpPr txBox="1">
                <a:spLocks noRot="1" noChangeAspect="1" noMove="1" noResize="1" noEditPoints="1" noAdjustHandles="1" noChangeArrowheads="1" noChangeShapeType="1" noTextEdit="1"/>
              </p:cNvSpPr>
              <p:nvPr/>
            </p:nvSpPr>
            <p:spPr>
              <a:xfrm>
                <a:off x="10156003" y="2004889"/>
                <a:ext cx="513909" cy="317203"/>
              </a:xfrm>
              <a:prstGeom prst="rect">
                <a:avLst/>
              </a:prstGeom>
              <a:blipFill>
                <a:blip r:embed="rId8"/>
                <a:stretch>
                  <a:fillRect r="-4762"/>
                </a:stretch>
              </a:blipFill>
              <a:ln w="6350">
                <a:noFill/>
              </a:ln>
            </p:spPr>
            <p:txBody>
              <a:bodyPr/>
              <a:lstStyle/>
              <a:p>
                <a:r>
                  <a:rPr lang="en-GB">
                    <a:noFill/>
                  </a:rPr>
                  <a:t> </a:t>
                </a:r>
              </a:p>
            </p:txBody>
          </p:sp>
        </mc:Fallback>
      </mc:AlternateContent>
      <p:grpSp>
        <p:nvGrpSpPr>
          <p:cNvPr id="2337" name="Gruppieren 2336">
            <a:extLst>
              <a:ext uri="{FF2B5EF4-FFF2-40B4-BE49-F238E27FC236}">
                <a16:creationId xmlns:a16="http://schemas.microsoft.com/office/drawing/2014/main" id="{1CA49D02-1671-16AE-35CF-069B296BEDE1}"/>
              </a:ext>
            </a:extLst>
          </p:cNvPr>
          <p:cNvGrpSpPr/>
          <p:nvPr/>
        </p:nvGrpSpPr>
        <p:grpSpPr>
          <a:xfrm>
            <a:off x="5291818" y="199758"/>
            <a:ext cx="3695437" cy="4042926"/>
            <a:chOff x="5291818" y="199758"/>
            <a:chExt cx="3695437" cy="4042926"/>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8" y="199758"/>
              <a:ext cx="3695437" cy="4042926"/>
              <a:chOff x="5291818" y="199758"/>
              <a:chExt cx="3695437" cy="4042926"/>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8" y="199758"/>
                <a:ext cx="3695437" cy="4042926"/>
                <a:chOff x="5291818" y="199758"/>
                <a:chExt cx="3695437" cy="4042926"/>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8" y="199758"/>
                  <a:ext cx="3695437" cy="4042926"/>
                  <a:chOff x="5291818" y="199758"/>
                  <a:chExt cx="3695437" cy="4042926"/>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8" y="199758"/>
                    <a:ext cx="3695437" cy="4042926"/>
                    <a:chOff x="5291818" y="199758"/>
                    <a:chExt cx="3695437" cy="4042926"/>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8" y="199758"/>
                      <a:ext cx="3695437" cy="4042926"/>
                      <a:chOff x="5291818" y="199758"/>
                      <a:chExt cx="3695437" cy="4042926"/>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8" y="199758"/>
                        <a:ext cx="3695437" cy="4042926"/>
                        <a:chOff x="5291818" y="199758"/>
                        <a:chExt cx="3695437" cy="4042926"/>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8" y="199758"/>
                          <a:ext cx="3695437" cy="4042926"/>
                          <a:chOff x="5291818" y="199758"/>
                          <a:chExt cx="3695437" cy="4042926"/>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8" y="199758"/>
                            <a:ext cx="3695437" cy="4042926"/>
                            <a:chOff x="5291818" y="199758"/>
                            <a:chExt cx="3695437" cy="4042926"/>
                          </a:xfrm>
                        </p:grpSpPr>
                        <p:sp>
                          <p:nvSpPr>
                            <p:cNvPr id="18" name="Rechteck 17">
                              <a:extLst>
                                <a:ext uri="{FF2B5EF4-FFF2-40B4-BE49-F238E27FC236}">
                                  <a16:creationId xmlns:a16="http://schemas.microsoft.com/office/drawing/2014/main" id="{31EF5CDD-FF3D-42EC-639D-BEE68101E676}"/>
                                </a:ext>
                              </a:extLst>
                            </p:cNvPr>
                            <p:cNvSpPr/>
                            <p:nvPr/>
                          </p:nvSpPr>
                          <p:spPr>
                            <a:xfrm>
                              <a:off x="5291819" y="251722"/>
                              <a:ext cx="3695435" cy="399096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369668" y="697117"/>
                              <a:ext cx="1539736"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X hidden states</a:t>
                              </a:r>
                            </a:p>
                          </p:txBody>
                        </p:sp>
                        <p:sp>
                          <p:nvSpPr>
                            <p:cNvPr id="1425" name="Rectangle 21">
                              <a:extLst>
                                <a:ext uri="{FF2B5EF4-FFF2-40B4-BE49-F238E27FC236}">
                                  <a16:creationId xmlns:a16="http://schemas.microsoft.com/office/drawing/2014/main" id="{CEAD6FF3-09C8-2A0B-01BD-DC932BAD325C}"/>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xxx</a:t>
                              </a:r>
                            </a:p>
                          </p:txBody>
                        </p:sp>
                        <p:sp>
                          <p:nvSpPr>
                            <p:cNvPr id="1426" name="Rectangle 21">
                              <a:extLst>
                                <a:ext uri="{FF2B5EF4-FFF2-40B4-BE49-F238E27FC236}">
                                  <a16:creationId xmlns:a16="http://schemas.microsoft.com/office/drawing/2014/main" id="{D5B29083-F7CA-EA71-A7EC-89AE9A5076FC}"/>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60" name="Rectangle 21">
                              <a:extLst>
                                <a:ext uri="{FF2B5EF4-FFF2-40B4-BE49-F238E27FC236}">
                                  <a16:creationId xmlns:a16="http://schemas.microsoft.com/office/drawing/2014/main" id="{0312506D-31F0-EEF6-27BB-255A13914685}"/>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xxx</a:t>
                              </a:r>
                            </a:p>
                          </p:txBody>
                        </p:sp>
                        <p:sp>
                          <p:nvSpPr>
                            <p:cNvPr id="1057" name="Rectangle 21">
                              <a:extLst>
                                <a:ext uri="{FF2B5EF4-FFF2-40B4-BE49-F238E27FC236}">
                                  <a16:creationId xmlns:a16="http://schemas.microsoft.com/office/drawing/2014/main" id="{7353DBD1-9775-66FC-08FB-BDA95755C20E}"/>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7087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endCxn id="31" idx="0"/>
                            </p:cNvCxnSpPr>
                            <p:nvPr/>
                          </p:nvCxnSpPr>
                          <p:spPr>
                            <a:xfrm>
                              <a:off x="8176392" y="1708992"/>
                              <a:ext cx="454127" cy="141310"/>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endCxn id="32" idx="0"/>
                            </p:cNvCxnSpPr>
                            <p:nvPr/>
                          </p:nvCxnSpPr>
                          <p:spPr>
                            <a:xfrm>
                              <a:off x="7837922" y="1705576"/>
                              <a:ext cx="321458" cy="1447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endCxn id="33" idx="0"/>
                            </p:cNvCxnSpPr>
                            <p:nvPr/>
                          </p:nvCxnSpPr>
                          <p:spPr>
                            <a:xfrm flipH="1">
                              <a:off x="6732108" y="1685077"/>
                              <a:ext cx="381314" cy="167707"/>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48" name="Gerade Verbindung mit Pfeil 47">
                              <a:extLst>
                                <a:ext uri="{FF2B5EF4-FFF2-40B4-BE49-F238E27FC236}">
                                  <a16:creationId xmlns:a16="http://schemas.microsoft.com/office/drawing/2014/main" id="{168F91E2-70D5-0E23-69A5-5682DA6499D6}"/>
                                </a:ext>
                              </a:extLst>
                            </p:cNvPr>
                            <p:cNvCxnSpPr>
                              <a:cxnSpLocks/>
                              <a:stCxn id="1467" idx="4"/>
                              <a:endCxn id="46"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49" name="Gerade Verbindung mit Pfeil 48">
                              <a:extLst>
                                <a:ext uri="{FF2B5EF4-FFF2-40B4-BE49-F238E27FC236}">
                                  <a16:creationId xmlns:a16="http://schemas.microsoft.com/office/drawing/2014/main" id="{EF8E168F-9E20-6CEA-2FB9-C961BD3247AB}"/>
                                </a:ext>
                              </a:extLst>
                            </p:cNvPr>
                            <p:cNvCxnSpPr>
                              <a:cxnSpLocks/>
                              <a:stCxn id="1465" idx="4"/>
                              <a:endCxn id="44"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0" name="Gerade Verbindung mit Pfeil 49">
                              <a:extLst>
                                <a:ext uri="{FF2B5EF4-FFF2-40B4-BE49-F238E27FC236}">
                                  <a16:creationId xmlns:a16="http://schemas.microsoft.com/office/drawing/2014/main" id="{742E9917-3AB0-B892-8961-4A40F47E980E}"/>
                                </a:ext>
                              </a:extLst>
                            </p:cNvPr>
                            <p:cNvCxnSpPr>
                              <a:cxnSpLocks/>
                              <a:stCxn id="1463" idx="4"/>
                              <a:endCxn id="41"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51" name="Gerade Verbindung mit Pfeil 50">
                              <a:extLst>
                                <a:ext uri="{FF2B5EF4-FFF2-40B4-BE49-F238E27FC236}">
                                  <a16:creationId xmlns:a16="http://schemas.microsoft.com/office/drawing/2014/main" id="{3F5D4987-5EEC-0FA4-908A-BD8458D96C94}"/>
                                </a:ext>
                              </a:extLst>
                            </p:cNvPr>
                            <p:cNvCxnSpPr>
                              <a:cxnSpLocks/>
                              <a:stCxn id="1466" idx="4"/>
                              <a:endCxn id="45"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345" name="Gerade Verbindung mit Pfeil 1344">
                              <a:extLst>
                                <a:ext uri="{FF2B5EF4-FFF2-40B4-BE49-F238E27FC236}">
                                  <a16:creationId xmlns:a16="http://schemas.microsoft.com/office/drawing/2014/main" id="{BD4D1857-EFE0-CA6A-63F2-70A8C64604DE}"/>
                                </a:ext>
                              </a:extLst>
                            </p:cNvPr>
                            <p:cNvCxnSpPr>
                              <a:cxnSpLocks/>
                              <a:stCxn id="46" idx="4"/>
                              <a:endCxn id="58"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350" name="Gerade Verbindung mit Pfeil 1349">
                              <a:extLst>
                                <a:ext uri="{FF2B5EF4-FFF2-40B4-BE49-F238E27FC236}">
                                  <a16:creationId xmlns:a16="http://schemas.microsoft.com/office/drawing/2014/main" id="{10E4D2F5-F1C1-C832-EC26-5F8BA24A10A2}"/>
                                </a:ext>
                              </a:extLst>
                            </p:cNvPr>
                            <p:cNvCxnSpPr>
                              <a:cxnSpLocks/>
                              <a:stCxn id="44" idx="4"/>
                              <a:endCxn id="56"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1355" name="Gerade Verbindung mit Pfeil 1354">
                              <a:extLst>
                                <a:ext uri="{FF2B5EF4-FFF2-40B4-BE49-F238E27FC236}">
                                  <a16:creationId xmlns:a16="http://schemas.microsoft.com/office/drawing/2014/main" id="{8F459355-06EF-3F1A-266B-A23C84ECA05C}"/>
                                </a:ext>
                              </a:extLst>
                            </p:cNvPr>
                            <p:cNvCxnSpPr>
                              <a:cxnSpLocks/>
                              <a:stCxn id="45" idx="4"/>
                              <a:endCxn id="57"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360" name="Gerade Verbindung mit Pfeil 1359">
                              <a:extLst>
                                <a:ext uri="{FF2B5EF4-FFF2-40B4-BE49-F238E27FC236}">
                                  <a16:creationId xmlns:a16="http://schemas.microsoft.com/office/drawing/2014/main" id="{9649A755-4E59-241E-9D42-46C9F93C7E1B}"/>
                                </a:ext>
                              </a:extLst>
                            </p:cNvPr>
                            <p:cNvCxnSpPr>
                              <a:cxnSpLocks/>
                              <a:stCxn id="41" idx="4"/>
                              <a:endCxn id="54"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424" name="Rectangle 21">
                              <a:extLst>
                                <a:ext uri="{FF2B5EF4-FFF2-40B4-BE49-F238E27FC236}">
                                  <a16:creationId xmlns:a16="http://schemas.microsoft.com/office/drawing/2014/main" id="{C6479740-D8CC-A16C-87B1-9A6E358D2E9E}"/>
                                </a:ext>
                              </a:extLst>
                            </p:cNvPr>
                            <p:cNvSpPr/>
                            <p:nvPr/>
                          </p:nvSpPr>
                          <p:spPr>
                            <a:xfrm>
                              <a:off x="5291819" y="199758"/>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1: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cxnSp>
                          <p:nvCxnSpPr>
                            <p:cNvPr id="1435" name="Gerade Verbindung mit Pfeil 1434">
                              <a:extLst>
                                <a:ext uri="{FF2B5EF4-FFF2-40B4-BE49-F238E27FC236}">
                                  <a16:creationId xmlns:a16="http://schemas.microsoft.com/office/drawing/2014/main" id="{68204145-E1EA-49A6-AE00-A509246BB666}"/>
                                </a:ext>
                              </a:extLst>
                            </p:cNvPr>
                            <p:cNvCxnSpPr>
                              <a:cxnSpLocks/>
                              <a:endCxn id="30" idx="0"/>
                            </p:cNvCxnSpPr>
                            <p:nvPr/>
                          </p:nvCxnSpPr>
                          <p:spPr>
                            <a:xfrm>
                              <a:off x="7323085" y="1697879"/>
                              <a:ext cx="361944" cy="14946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46" name="Gerade Verbindung mit Pfeil 1445">
                              <a:extLst>
                                <a:ext uri="{FF2B5EF4-FFF2-40B4-BE49-F238E27FC236}">
                                  <a16:creationId xmlns:a16="http://schemas.microsoft.com/office/drawing/2014/main" id="{E6CEB865-0B38-E03F-2D4F-3BFF07CAE515}"/>
                                </a:ext>
                              </a:extLst>
                            </p:cNvPr>
                            <p:cNvCxnSpPr>
                              <a:cxnSpLocks/>
                              <a:stCxn id="31" idx="2"/>
                              <a:endCxn id="1467"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447" name="Gerade Verbindung mit Pfeil 1446">
                              <a:extLst>
                                <a:ext uri="{FF2B5EF4-FFF2-40B4-BE49-F238E27FC236}">
                                  <a16:creationId xmlns:a16="http://schemas.microsoft.com/office/drawing/2014/main" id="{6E4CC005-50C3-B7D8-F881-42CB91AB4BD1}"/>
                                </a:ext>
                              </a:extLst>
                            </p:cNvPr>
                            <p:cNvCxnSpPr>
                              <a:cxnSpLocks/>
                              <a:stCxn id="32" idx="2"/>
                              <a:endCxn id="1465"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448" name="Gerade Verbindung mit Pfeil 1447">
                              <a:extLst>
                                <a:ext uri="{FF2B5EF4-FFF2-40B4-BE49-F238E27FC236}">
                                  <a16:creationId xmlns:a16="http://schemas.microsoft.com/office/drawing/2014/main" id="{4B8C5A27-9353-68E3-9BE3-90DF3E784EA8}"/>
                                </a:ext>
                              </a:extLst>
                            </p:cNvPr>
                            <p:cNvCxnSpPr>
                              <a:cxnSpLocks/>
                              <a:stCxn id="33" idx="2"/>
                              <a:endCxn id="1463"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459" name="Gerade Verbindung mit Pfeil 1458">
                              <a:extLst>
                                <a:ext uri="{FF2B5EF4-FFF2-40B4-BE49-F238E27FC236}">
                                  <a16:creationId xmlns:a16="http://schemas.microsoft.com/office/drawing/2014/main" id="{29D9BA37-BB77-8CE7-89F8-DF553953074E}"/>
                                </a:ext>
                              </a:extLst>
                            </p:cNvPr>
                            <p:cNvCxnSpPr>
                              <a:cxnSpLocks/>
                              <a:stCxn id="30" idx="2"/>
                              <a:endCxn id="1466"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552107" y="1797529"/>
                              <a:ext cx="2368438" cy="397974"/>
                              <a:chOff x="6509819" y="1164970"/>
                              <a:chExt cx="2368438" cy="397974"/>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64946" y="259659"/>
                                <a:ext cx="348158" cy="2258411"/>
                                <a:chOff x="3901084" y="1898330"/>
                                <a:chExt cx="348158" cy="225841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58411"/>
                                  <a:chOff x="4682551" y="2696535"/>
                                  <a:chExt cx="345202" cy="225841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X</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65749"/>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65799"/>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64970"/>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34936" y="1168130"/>
                                <a:ext cx="144000" cy="144000"/>
                              </a:xfrm>
                              <a:prstGeom prst="rect">
                                <a:avLst/>
                              </a:prstGeom>
                            </p:spPr>
                          </p:pic>
                        </p:grpSp>
                        <p:cxnSp>
                          <p:nvCxnSpPr>
                            <p:cNvPr id="2018" name="Gerade Verbindung mit Pfeil 2017">
                              <a:extLst>
                                <a:ext uri="{FF2B5EF4-FFF2-40B4-BE49-F238E27FC236}">
                                  <a16:creationId xmlns:a16="http://schemas.microsoft.com/office/drawing/2014/main" id="{DC69B398-976F-42AB-8E60-F55FE8BA2A11}"/>
                                </a:ext>
                              </a:extLst>
                            </p:cNvPr>
                            <p:cNvCxnSpPr>
                              <a:cxnSpLocks/>
                              <a:stCxn id="58" idx="4"/>
                              <a:endCxn id="1049"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9" name="Gerade Verbindung mit Pfeil 2018">
                              <a:extLst>
                                <a:ext uri="{FF2B5EF4-FFF2-40B4-BE49-F238E27FC236}">
                                  <a16:creationId xmlns:a16="http://schemas.microsoft.com/office/drawing/2014/main" id="{0C8D05DB-A26D-D202-DE82-FDD431C5CF3B}"/>
                                </a:ext>
                              </a:extLst>
                            </p:cNvPr>
                            <p:cNvCxnSpPr>
                              <a:cxnSpLocks/>
                              <a:stCxn id="58" idx="4"/>
                              <a:endCxn id="1046"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20" name="Gerade Verbindung mit Pfeil 2019">
                              <a:extLst>
                                <a:ext uri="{FF2B5EF4-FFF2-40B4-BE49-F238E27FC236}">
                                  <a16:creationId xmlns:a16="http://schemas.microsoft.com/office/drawing/2014/main" id="{533D08E4-CE66-3BC5-9F50-93801B3EC3E3}"/>
                                </a:ext>
                              </a:extLst>
                            </p:cNvPr>
                            <p:cNvCxnSpPr>
                              <a:cxnSpLocks/>
                              <a:stCxn id="58" idx="4"/>
                              <a:endCxn id="1048"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21" name="Gerade Verbindung mit Pfeil 2020">
                              <a:extLst>
                                <a:ext uri="{FF2B5EF4-FFF2-40B4-BE49-F238E27FC236}">
                                  <a16:creationId xmlns:a16="http://schemas.microsoft.com/office/drawing/2014/main" id="{EABFF63F-C08D-77BD-97AB-EDBF39467462}"/>
                                </a:ext>
                              </a:extLst>
                            </p:cNvPr>
                            <p:cNvCxnSpPr>
                              <a:cxnSpLocks/>
                              <a:stCxn id="58" idx="4"/>
                              <a:endCxn id="1044"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22" name="Gerade Verbindung mit Pfeil 2021">
                              <a:extLst>
                                <a:ext uri="{FF2B5EF4-FFF2-40B4-BE49-F238E27FC236}">
                                  <a16:creationId xmlns:a16="http://schemas.microsoft.com/office/drawing/2014/main" id="{70527833-B106-4FDB-136F-9D6A2283A73A}"/>
                                </a:ext>
                              </a:extLst>
                            </p:cNvPr>
                            <p:cNvCxnSpPr>
                              <a:cxnSpLocks/>
                              <a:stCxn id="56" idx="4"/>
                              <a:endCxn id="1049"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23" name="Gerade Verbindung mit Pfeil 2022">
                              <a:extLst>
                                <a:ext uri="{FF2B5EF4-FFF2-40B4-BE49-F238E27FC236}">
                                  <a16:creationId xmlns:a16="http://schemas.microsoft.com/office/drawing/2014/main" id="{ECF16BA2-AC1D-5714-ACC2-D8D8F5B80270}"/>
                                </a:ext>
                              </a:extLst>
                            </p:cNvPr>
                            <p:cNvCxnSpPr>
                              <a:cxnSpLocks/>
                              <a:stCxn id="56" idx="4"/>
                              <a:endCxn id="1046"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24" name="Gerade Verbindung mit Pfeil 2023">
                              <a:extLst>
                                <a:ext uri="{FF2B5EF4-FFF2-40B4-BE49-F238E27FC236}">
                                  <a16:creationId xmlns:a16="http://schemas.microsoft.com/office/drawing/2014/main" id="{FC77BA74-95B4-69EC-6D75-B60556336C88}"/>
                                </a:ext>
                              </a:extLst>
                            </p:cNvPr>
                            <p:cNvCxnSpPr>
                              <a:cxnSpLocks/>
                              <a:stCxn id="56" idx="4"/>
                              <a:endCxn id="1048"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25" name="Gerade Verbindung mit Pfeil 2024">
                              <a:extLst>
                                <a:ext uri="{FF2B5EF4-FFF2-40B4-BE49-F238E27FC236}">
                                  <a16:creationId xmlns:a16="http://schemas.microsoft.com/office/drawing/2014/main" id="{7F46CF78-D312-B497-94C6-A5AA28A6A715}"/>
                                </a:ext>
                              </a:extLst>
                            </p:cNvPr>
                            <p:cNvCxnSpPr>
                              <a:cxnSpLocks/>
                              <a:stCxn id="56" idx="4"/>
                              <a:endCxn id="1044"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26" name="Gerade Verbindung mit Pfeil 2025">
                              <a:extLst>
                                <a:ext uri="{FF2B5EF4-FFF2-40B4-BE49-F238E27FC236}">
                                  <a16:creationId xmlns:a16="http://schemas.microsoft.com/office/drawing/2014/main" id="{BF8C8F79-B324-5F72-C01C-D7E3BB524DFC}"/>
                                </a:ext>
                              </a:extLst>
                            </p:cNvPr>
                            <p:cNvCxnSpPr>
                              <a:cxnSpLocks/>
                              <a:stCxn id="57" idx="4"/>
                              <a:endCxn id="1049"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27" name="Gerade Verbindung mit Pfeil 2026">
                              <a:extLst>
                                <a:ext uri="{FF2B5EF4-FFF2-40B4-BE49-F238E27FC236}">
                                  <a16:creationId xmlns:a16="http://schemas.microsoft.com/office/drawing/2014/main" id="{21C6A85F-9C85-052B-CDE7-D984A65A5D1C}"/>
                                </a:ext>
                              </a:extLst>
                            </p:cNvPr>
                            <p:cNvCxnSpPr>
                              <a:cxnSpLocks/>
                              <a:stCxn id="57" idx="4"/>
                              <a:endCxn id="1046"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28" name="Gerade Verbindung mit Pfeil 2027">
                              <a:extLst>
                                <a:ext uri="{FF2B5EF4-FFF2-40B4-BE49-F238E27FC236}">
                                  <a16:creationId xmlns:a16="http://schemas.microsoft.com/office/drawing/2014/main" id="{D1F70D75-FFBF-80C2-F02B-157603349336}"/>
                                </a:ext>
                              </a:extLst>
                            </p:cNvPr>
                            <p:cNvCxnSpPr>
                              <a:cxnSpLocks/>
                              <a:stCxn id="57" idx="4"/>
                              <a:endCxn id="1048"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0" name="Gerade Verbindung mit Pfeil 2029">
                              <a:extLst>
                                <a:ext uri="{FF2B5EF4-FFF2-40B4-BE49-F238E27FC236}">
                                  <a16:creationId xmlns:a16="http://schemas.microsoft.com/office/drawing/2014/main" id="{FF3D283C-06C0-E7DE-5B87-A34D2210E0A3}"/>
                                </a:ext>
                              </a:extLst>
                            </p:cNvPr>
                            <p:cNvCxnSpPr>
                              <a:cxnSpLocks/>
                              <a:stCxn id="57" idx="4"/>
                              <a:endCxn id="1044"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1" name="Gerade Verbindung mit Pfeil 2030">
                              <a:extLst>
                                <a:ext uri="{FF2B5EF4-FFF2-40B4-BE49-F238E27FC236}">
                                  <a16:creationId xmlns:a16="http://schemas.microsoft.com/office/drawing/2014/main" id="{816D370D-CA6D-41AE-1E37-2C459E64F2E5}"/>
                                </a:ext>
                              </a:extLst>
                            </p:cNvPr>
                            <p:cNvCxnSpPr>
                              <a:cxnSpLocks/>
                              <a:stCxn id="54" idx="4"/>
                              <a:endCxn id="1049"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2" name="Gerade Verbindung mit Pfeil 2031">
                              <a:extLst>
                                <a:ext uri="{FF2B5EF4-FFF2-40B4-BE49-F238E27FC236}">
                                  <a16:creationId xmlns:a16="http://schemas.microsoft.com/office/drawing/2014/main" id="{07BB30E1-16D9-6EAA-A732-1D84AC63CE9B}"/>
                                </a:ext>
                              </a:extLst>
                            </p:cNvPr>
                            <p:cNvCxnSpPr>
                              <a:cxnSpLocks/>
                              <a:stCxn id="54" idx="4"/>
                              <a:endCxn id="1046"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3" name="Gerade Verbindung mit Pfeil 2032">
                              <a:extLst>
                                <a:ext uri="{FF2B5EF4-FFF2-40B4-BE49-F238E27FC236}">
                                  <a16:creationId xmlns:a16="http://schemas.microsoft.com/office/drawing/2014/main" id="{3E4CF8B4-9D45-53ED-82D8-7B0958CBAC0C}"/>
                                </a:ext>
                              </a:extLst>
                            </p:cNvPr>
                            <p:cNvCxnSpPr>
                              <a:cxnSpLocks/>
                              <a:stCxn id="54" idx="4"/>
                              <a:endCxn id="1048"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4" name="Gerade Verbindung mit Pfeil 2033">
                              <a:extLst>
                                <a:ext uri="{FF2B5EF4-FFF2-40B4-BE49-F238E27FC236}">
                                  <a16:creationId xmlns:a16="http://schemas.microsoft.com/office/drawing/2014/main" id="{993BC5AF-B1CD-6CD9-92EB-62E18C76B1B1}"/>
                                </a:ext>
                              </a:extLst>
                            </p:cNvPr>
                            <p:cNvCxnSpPr>
                              <a:cxnSpLocks/>
                              <a:stCxn id="54" idx="4"/>
                              <a:endCxn id="1044"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1228" name="Gruppieren 1227">
                              <a:extLst>
                                <a:ext uri="{FF2B5EF4-FFF2-40B4-BE49-F238E27FC236}">
                                  <a16:creationId xmlns:a16="http://schemas.microsoft.com/office/drawing/2014/main" id="{543CF8F2-0057-5513-23DB-A0BA03820ADE}"/>
                                </a:ext>
                              </a:extLst>
                            </p:cNvPr>
                            <p:cNvGrpSpPr/>
                            <p:nvPr/>
                          </p:nvGrpSpPr>
                          <p:grpSpPr>
                            <a:xfrm>
                              <a:off x="6587779" y="2215260"/>
                              <a:ext cx="2132603" cy="215444"/>
                              <a:chOff x="6587779" y="2254951"/>
                              <a:chExt cx="2132603" cy="215444"/>
                            </a:xfrm>
                          </p:grpSpPr>
                          <p:grpSp>
                            <p:nvGrpSpPr>
                              <p:cNvPr id="1461" name="Gruppieren 1460">
                                <a:extLst>
                                  <a:ext uri="{FF2B5EF4-FFF2-40B4-BE49-F238E27FC236}">
                                    <a16:creationId xmlns:a16="http://schemas.microsoft.com/office/drawing/2014/main" id="{7B8B0615-9017-9046-255A-877276BDD88D}"/>
                                  </a:ext>
                                </a:extLst>
                              </p:cNvPr>
                              <p:cNvGrpSpPr/>
                              <p:nvPr/>
                            </p:nvGrpSpPr>
                            <p:grpSpPr>
                              <a:xfrm rot="5400000">
                                <a:off x="7589372" y="1316318"/>
                                <a:ext cx="180000" cy="2082020"/>
                                <a:chOff x="7030408" y="2078006"/>
                                <a:chExt cx="180000" cy="2082020"/>
                              </a:xfrm>
                              <a:solidFill>
                                <a:schemeClr val="bg1"/>
                              </a:solidFill>
                            </p:grpSpPr>
                            <p:grpSp>
                              <p:nvGrpSpPr>
                                <p:cNvPr id="1462" name="Gruppieren 1461">
                                  <a:extLst>
                                    <a:ext uri="{FF2B5EF4-FFF2-40B4-BE49-F238E27FC236}">
                                      <a16:creationId xmlns:a16="http://schemas.microsoft.com/office/drawing/2014/main" id="{8498B4CE-276C-052E-7E85-FB564FF2EE12}"/>
                                    </a:ext>
                                  </a:extLst>
                                </p:cNvPr>
                                <p:cNvGrpSpPr/>
                                <p:nvPr/>
                              </p:nvGrpSpPr>
                              <p:grpSpPr>
                                <a:xfrm>
                                  <a:off x="7030408" y="2078006"/>
                                  <a:ext cx="180000" cy="1729683"/>
                                  <a:chOff x="4837388" y="2078006"/>
                                  <a:chExt cx="180000" cy="1729683"/>
                                </a:xfrm>
                                <a:grpFill/>
                              </p:grpSpPr>
                              <p:grpSp>
                                <p:nvGrpSpPr>
                                  <p:cNvPr id="1464" name="Gruppieren 1463">
                                    <a:extLst>
                                      <a:ext uri="{FF2B5EF4-FFF2-40B4-BE49-F238E27FC236}">
                                        <a16:creationId xmlns:a16="http://schemas.microsoft.com/office/drawing/2014/main" id="{67C25AD1-B32C-C27B-61F3-C0460EB76290}"/>
                                      </a:ext>
                                    </a:extLst>
                                  </p:cNvPr>
                                  <p:cNvGrpSpPr/>
                                  <p:nvPr/>
                                </p:nvGrpSpPr>
                                <p:grpSpPr>
                                  <a:xfrm>
                                    <a:off x="4837388" y="2078006"/>
                                    <a:ext cx="180000" cy="1729683"/>
                                    <a:chOff x="4508491" y="2876211"/>
                                    <a:chExt cx="180000" cy="1729683"/>
                                  </a:xfrm>
                                  <a:grpFill/>
                                </p:grpSpPr>
                                <p:sp>
                                  <p:nvSpPr>
                                    <p:cNvPr id="1467" name="Rectangle 15">
                                      <a:extLst>
                                        <a:ext uri="{FF2B5EF4-FFF2-40B4-BE49-F238E27FC236}">
                                          <a16:creationId xmlns:a16="http://schemas.microsoft.com/office/drawing/2014/main" id="{8C6EDF81-57EF-4E87-DD67-316D53FA8C8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68" name="Rectangle 15">
                                      <a:extLst>
                                        <a:ext uri="{FF2B5EF4-FFF2-40B4-BE49-F238E27FC236}">
                                          <a16:creationId xmlns:a16="http://schemas.microsoft.com/office/drawing/2014/main" id="{2D081DCB-91BB-D3C3-8914-EF2AC610A9C9}"/>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65" name="Rectangle 15">
                                    <a:extLst>
                                      <a:ext uri="{FF2B5EF4-FFF2-40B4-BE49-F238E27FC236}">
                                        <a16:creationId xmlns:a16="http://schemas.microsoft.com/office/drawing/2014/main" id="{9766EF50-FD9D-8F89-FF58-F2C55A9AC37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66" name="Rectangle 15">
                                    <a:extLst>
                                      <a:ext uri="{FF2B5EF4-FFF2-40B4-BE49-F238E27FC236}">
                                        <a16:creationId xmlns:a16="http://schemas.microsoft.com/office/drawing/2014/main" id="{29F54C65-6F85-1489-5A7E-01204D8EE8B3}"/>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63" name="Rectangle 15">
                                  <a:extLst>
                                    <a:ext uri="{FF2B5EF4-FFF2-40B4-BE49-F238E27FC236}">
                                      <a16:creationId xmlns:a16="http://schemas.microsoft.com/office/drawing/2014/main" id="{3675F7A9-25FB-6AEC-A20F-9AC9528AD31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1224" name="Textfeld 1223">
                                <a:extLst>
                                  <a:ext uri="{FF2B5EF4-FFF2-40B4-BE49-F238E27FC236}">
                                    <a16:creationId xmlns:a16="http://schemas.microsoft.com/office/drawing/2014/main" id="{44B06CC4-1426-F428-993A-3AF75B0F5D02}"/>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1229" name="Gruppieren 1228">
                              <a:extLst>
                                <a:ext uri="{FF2B5EF4-FFF2-40B4-BE49-F238E27FC236}">
                                  <a16:creationId xmlns:a16="http://schemas.microsoft.com/office/drawing/2014/main" id="{06273C0F-1DD3-A09E-D99E-52CA94818C56}"/>
                                </a:ext>
                              </a:extLst>
                            </p:cNvPr>
                            <p:cNvGrpSpPr/>
                            <p:nvPr/>
                          </p:nvGrpSpPr>
                          <p:grpSpPr>
                            <a:xfrm>
                              <a:off x="6587568" y="2485377"/>
                              <a:ext cx="2133764" cy="215444"/>
                              <a:chOff x="6587568" y="2485377"/>
                              <a:chExt cx="2133764" cy="215444"/>
                            </a:xfrm>
                          </p:grpSpPr>
                          <p:grpSp>
                            <p:nvGrpSpPr>
                              <p:cNvPr id="38" name="Gruppieren 37">
                                <a:extLst>
                                  <a:ext uri="{FF2B5EF4-FFF2-40B4-BE49-F238E27FC236}">
                                    <a16:creationId xmlns:a16="http://schemas.microsoft.com/office/drawing/2014/main" id="{509F4F35-96F7-717C-F211-F39E00C0952D}"/>
                                  </a:ext>
                                </a:extLst>
                              </p:cNvPr>
                              <p:cNvGrpSpPr/>
                              <p:nvPr/>
                            </p:nvGrpSpPr>
                            <p:grpSpPr>
                              <a:xfrm rot="5400000">
                                <a:off x="7590321" y="1552762"/>
                                <a:ext cx="180002" cy="2082020"/>
                                <a:chOff x="7030406" y="2078006"/>
                                <a:chExt cx="180002" cy="2082020"/>
                              </a:xfrm>
                            </p:grpSpPr>
                            <p:grpSp>
                              <p:nvGrpSpPr>
                                <p:cNvPr id="39" name="Gruppieren 38">
                                  <a:extLst>
                                    <a:ext uri="{FF2B5EF4-FFF2-40B4-BE49-F238E27FC236}">
                                      <a16:creationId xmlns:a16="http://schemas.microsoft.com/office/drawing/2014/main" id="{CD812367-139B-1463-538E-0D63618686C5}"/>
                                    </a:ext>
                                  </a:extLst>
                                </p:cNvPr>
                                <p:cNvGrpSpPr/>
                                <p:nvPr/>
                              </p:nvGrpSpPr>
                              <p:grpSpPr>
                                <a:xfrm>
                                  <a:off x="7030406" y="2078006"/>
                                  <a:ext cx="180002" cy="1729685"/>
                                  <a:chOff x="4837386" y="2078006"/>
                                  <a:chExt cx="180002" cy="1729685"/>
                                </a:xfrm>
                              </p:grpSpPr>
                              <p:grpSp>
                                <p:nvGrpSpPr>
                                  <p:cNvPr id="42" name="Gruppieren 41">
                                    <a:extLst>
                                      <a:ext uri="{FF2B5EF4-FFF2-40B4-BE49-F238E27FC236}">
                                        <a16:creationId xmlns:a16="http://schemas.microsoft.com/office/drawing/2014/main" id="{B49ECE3C-F33A-403E-D43C-F0BC7947EB63}"/>
                                      </a:ext>
                                    </a:extLst>
                                  </p:cNvPr>
                                  <p:cNvGrpSpPr/>
                                  <p:nvPr/>
                                </p:nvGrpSpPr>
                                <p:grpSpPr>
                                  <a:xfrm>
                                    <a:off x="4837386" y="2078006"/>
                                    <a:ext cx="180002" cy="1729685"/>
                                    <a:chOff x="4508489" y="2876211"/>
                                    <a:chExt cx="180002" cy="1729685"/>
                                  </a:xfrm>
                                </p:grpSpPr>
                                <p:sp>
                                  <p:nvSpPr>
                                    <p:cNvPr id="46" name="Rectangle 15">
                                      <a:extLst>
                                        <a:ext uri="{FF2B5EF4-FFF2-40B4-BE49-F238E27FC236}">
                                          <a16:creationId xmlns:a16="http://schemas.microsoft.com/office/drawing/2014/main" id="{CE9537B4-2637-1DB3-8350-D953D46E47BF}"/>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47" name="Rectangle 15">
                                      <a:extLst>
                                        <a:ext uri="{FF2B5EF4-FFF2-40B4-BE49-F238E27FC236}">
                                          <a16:creationId xmlns:a16="http://schemas.microsoft.com/office/drawing/2014/main" id="{BE705209-8AAF-B675-7EEB-0C93DC88AABC}"/>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44" name="Rectangle 15">
                                    <a:extLst>
                                      <a:ext uri="{FF2B5EF4-FFF2-40B4-BE49-F238E27FC236}">
                                        <a16:creationId xmlns:a16="http://schemas.microsoft.com/office/drawing/2014/main" id="{DDF49D19-FD63-7029-9404-A2E63BD673DE}"/>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45" name="Rectangle 15">
                                    <a:extLst>
                                      <a:ext uri="{FF2B5EF4-FFF2-40B4-BE49-F238E27FC236}">
                                        <a16:creationId xmlns:a16="http://schemas.microsoft.com/office/drawing/2014/main" id="{B538298E-577E-ECDE-800F-848EEE38E980}"/>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41" name="Rectangle 15">
                                  <a:extLst>
                                    <a:ext uri="{FF2B5EF4-FFF2-40B4-BE49-F238E27FC236}">
                                      <a16:creationId xmlns:a16="http://schemas.microsoft.com/office/drawing/2014/main" id="{10B909F0-4167-E814-A544-7BC401061022}"/>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1225" name="Textfeld 1224">
                                <a:extLst>
                                  <a:ext uri="{FF2B5EF4-FFF2-40B4-BE49-F238E27FC236}">
                                    <a16:creationId xmlns:a16="http://schemas.microsoft.com/office/drawing/2014/main" id="{6738AD72-4793-6708-5999-CEC487CC0735}"/>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1230" name="Gruppieren 1229">
                              <a:extLst>
                                <a:ext uri="{FF2B5EF4-FFF2-40B4-BE49-F238E27FC236}">
                                  <a16:creationId xmlns:a16="http://schemas.microsoft.com/office/drawing/2014/main" id="{5F9113E1-65F2-F936-BD97-9A4566A2FC15}"/>
                                </a:ext>
                              </a:extLst>
                            </p:cNvPr>
                            <p:cNvGrpSpPr/>
                            <p:nvPr/>
                          </p:nvGrpSpPr>
                          <p:grpSpPr>
                            <a:xfrm>
                              <a:off x="6581262" y="2758735"/>
                              <a:ext cx="2140070" cy="215444"/>
                              <a:chOff x="6581262" y="2984160"/>
                              <a:chExt cx="2140070" cy="215444"/>
                            </a:xfrm>
                          </p:grpSpPr>
                          <p:grpSp>
                            <p:nvGrpSpPr>
                              <p:cNvPr id="52" name="Gruppieren 51">
                                <a:extLst>
                                  <a:ext uri="{FF2B5EF4-FFF2-40B4-BE49-F238E27FC236}">
                                    <a16:creationId xmlns:a16="http://schemas.microsoft.com/office/drawing/2014/main" id="{092DAA23-DEF8-DE69-52D5-8C8B08D491B0}"/>
                                  </a:ext>
                                </a:extLst>
                              </p:cNvPr>
                              <p:cNvGrpSpPr/>
                              <p:nvPr/>
                            </p:nvGrpSpPr>
                            <p:grpSpPr>
                              <a:xfrm rot="5400000">
                                <a:off x="7590321" y="2052455"/>
                                <a:ext cx="180002" cy="2082020"/>
                                <a:chOff x="7030406" y="2078006"/>
                                <a:chExt cx="180002" cy="2082020"/>
                              </a:xfrm>
                              <a:solidFill>
                                <a:schemeClr val="bg1"/>
                              </a:solidFill>
                            </p:grpSpPr>
                            <p:grpSp>
                              <p:nvGrpSpPr>
                                <p:cNvPr id="53" name="Gruppieren 52">
                                  <a:extLst>
                                    <a:ext uri="{FF2B5EF4-FFF2-40B4-BE49-F238E27FC236}">
                                      <a16:creationId xmlns:a16="http://schemas.microsoft.com/office/drawing/2014/main" id="{657952B1-2B63-F135-79CC-FDBCCF3C86DC}"/>
                                    </a:ext>
                                  </a:extLst>
                                </p:cNvPr>
                                <p:cNvGrpSpPr/>
                                <p:nvPr/>
                              </p:nvGrpSpPr>
                              <p:grpSpPr>
                                <a:xfrm>
                                  <a:off x="7030406" y="2078006"/>
                                  <a:ext cx="180002" cy="1729685"/>
                                  <a:chOff x="4837386" y="2078006"/>
                                  <a:chExt cx="180002" cy="1729685"/>
                                </a:xfrm>
                                <a:grpFill/>
                              </p:grpSpPr>
                              <p:grpSp>
                                <p:nvGrpSpPr>
                                  <p:cNvPr id="55" name="Gruppieren 54">
                                    <a:extLst>
                                      <a:ext uri="{FF2B5EF4-FFF2-40B4-BE49-F238E27FC236}">
                                        <a16:creationId xmlns:a16="http://schemas.microsoft.com/office/drawing/2014/main" id="{A364BB3D-6124-85E4-5627-968D4981C6C6}"/>
                                      </a:ext>
                                    </a:extLst>
                                  </p:cNvPr>
                                  <p:cNvGrpSpPr/>
                                  <p:nvPr/>
                                </p:nvGrpSpPr>
                                <p:grpSpPr>
                                  <a:xfrm>
                                    <a:off x="4837386" y="2078006"/>
                                    <a:ext cx="180002" cy="1729685"/>
                                    <a:chOff x="4508489" y="2876211"/>
                                    <a:chExt cx="180002" cy="1729685"/>
                                  </a:xfrm>
                                  <a:grpFill/>
                                </p:grpSpPr>
                                <p:sp>
                                  <p:nvSpPr>
                                    <p:cNvPr id="58" name="Rectangle 15">
                                      <a:extLst>
                                        <a:ext uri="{FF2B5EF4-FFF2-40B4-BE49-F238E27FC236}">
                                          <a16:creationId xmlns:a16="http://schemas.microsoft.com/office/drawing/2014/main" id="{15AA7848-E1AD-AE0D-A7FD-8992733A26D6}"/>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344" name="Rectangle 15">
                                      <a:extLst>
                                        <a:ext uri="{FF2B5EF4-FFF2-40B4-BE49-F238E27FC236}">
                                          <a16:creationId xmlns:a16="http://schemas.microsoft.com/office/drawing/2014/main" id="{5A151F66-3632-A25F-B60B-DE31397134E5}"/>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56" name="Rectangle 15">
                                    <a:extLst>
                                      <a:ext uri="{FF2B5EF4-FFF2-40B4-BE49-F238E27FC236}">
                                        <a16:creationId xmlns:a16="http://schemas.microsoft.com/office/drawing/2014/main" id="{86751FCF-52EB-6184-F34F-0D2BA725563D}"/>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57" name="Rectangle 15">
                                    <a:extLst>
                                      <a:ext uri="{FF2B5EF4-FFF2-40B4-BE49-F238E27FC236}">
                                        <a16:creationId xmlns:a16="http://schemas.microsoft.com/office/drawing/2014/main" id="{97C2A8E7-DEA4-1DEA-6794-8788D5C8E354}"/>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54" name="Rectangle 15">
                                  <a:extLst>
                                    <a:ext uri="{FF2B5EF4-FFF2-40B4-BE49-F238E27FC236}">
                                      <a16:creationId xmlns:a16="http://schemas.microsoft.com/office/drawing/2014/main" id="{DBBC56C4-A452-5A53-6C77-1275EDE875A6}"/>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1226" name="Textfeld 1225">
                                <a:extLst>
                                  <a:ext uri="{FF2B5EF4-FFF2-40B4-BE49-F238E27FC236}">
                                    <a16:creationId xmlns:a16="http://schemas.microsoft.com/office/drawing/2014/main" id="{483CBED2-B491-A914-F6DF-73FF49B7D52A}"/>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1257" name="Gruppieren 1256">
                              <a:extLst>
                                <a:ext uri="{FF2B5EF4-FFF2-40B4-BE49-F238E27FC236}">
                                  <a16:creationId xmlns:a16="http://schemas.microsoft.com/office/drawing/2014/main" id="{B739981A-AD41-0CF7-ED62-11D7CDFC2C1B}"/>
                                </a:ext>
                              </a:extLst>
                            </p:cNvPr>
                            <p:cNvGrpSpPr/>
                            <p:nvPr/>
                          </p:nvGrpSpPr>
                          <p:grpSpPr>
                            <a:xfrm>
                              <a:off x="6699725" y="3037732"/>
                              <a:ext cx="2023313" cy="215444"/>
                              <a:chOff x="6699725" y="3317132"/>
                              <a:chExt cx="2023313" cy="215444"/>
                            </a:xfrm>
                          </p:grpSpPr>
                          <p:grpSp>
                            <p:nvGrpSpPr>
                              <p:cNvPr id="1040" name="Gruppieren 1039">
                                <a:extLst>
                                  <a:ext uri="{FF2B5EF4-FFF2-40B4-BE49-F238E27FC236}">
                                    <a16:creationId xmlns:a16="http://schemas.microsoft.com/office/drawing/2014/main" id="{3A5463A9-F6FB-1408-1662-B4E2B943D357}"/>
                                  </a:ext>
                                </a:extLst>
                              </p:cNvPr>
                              <p:cNvGrpSpPr/>
                              <p:nvPr/>
                            </p:nvGrpSpPr>
                            <p:grpSpPr>
                              <a:xfrm rot="5400000">
                                <a:off x="7649166" y="2433802"/>
                                <a:ext cx="180023" cy="1967720"/>
                                <a:chOff x="7030406" y="2078006"/>
                                <a:chExt cx="180023" cy="1967720"/>
                              </a:xfrm>
                              <a:solidFill>
                                <a:schemeClr val="bg1"/>
                              </a:solidFill>
                            </p:grpSpPr>
                            <p:grpSp>
                              <p:nvGrpSpPr>
                                <p:cNvPr id="1041" name="Gruppieren 1040">
                                  <a:extLst>
                                    <a:ext uri="{FF2B5EF4-FFF2-40B4-BE49-F238E27FC236}">
                                      <a16:creationId xmlns:a16="http://schemas.microsoft.com/office/drawing/2014/main" id="{A5C7A342-84F1-20F2-9ABE-452903055F41}"/>
                                    </a:ext>
                                  </a:extLst>
                                </p:cNvPr>
                                <p:cNvGrpSpPr/>
                                <p:nvPr/>
                              </p:nvGrpSpPr>
                              <p:grpSpPr>
                                <a:xfrm>
                                  <a:off x="7030406" y="2078006"/>
                                  <a:ext cx="180002" cy="1729685"/>
                                  <a:chOff x="4837386" y="2078006"/>
                                  <a:chExt cx="180002" cy="1729685"/>
                                </a:xfrm>
                                <a:grpFill/>
                              </p:grpSpPr>
                              <p:grpSp>
                                <p:nvGrpSpPr>
                                  <p:cNvPr id="1045" name="Gruppieren 1044">
                                    <a:extLst>
                                      <a:ext uri="{FF2B5EF4-FFF2-40B4-BE49-F238E27FC236}">
                                        <a16:creationId xmlns:a16="http://schemas.microsoft.com/office/drawing/2014/main" id="{29B070E8-3A79-9C27-400E-28C2E0AB1174}"/>
                                      </a:ext>
                                    </a:extLst>
                                  </p:cNvPr>
                                  <p:cNvGrpSpPr/>
                                  <p:nvPr/>
                                </p:nvGrpSpPr>
                                <p:grpSpPr>
                                  <a:xfrm>
                                    <a:off x="4837386" y="2078006"/>
                                    <a:ext cx="180002" cy="1729685"/>
                                    <a:chOff x="4508489" y="2876211"/>
                                    <a:chExt cx="180002" cy="1729685"/>
                                  </a:xfrm>
                                  <a:grpFill/>
                                </p:grpSpPr>
                                <p:sp>
                                  <p:nvSpPr>
                                    <p:cNvPr id="1049" name="Rectangle 15">
                                      <a:extLst>
                                        <a:ext uri="{FF2B5EF4-FFF2-40B4-BE49-F238E27FC236}">
                                          <a16:creationId xmlns:a16="http://schemas.microsoft.com/office/drawing/2014/main" id="{A0598873-9A48-3B61-0D3B-BD31BACA186D}"/>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56" name="Rectangle 15">
                                      <a:extLst>
                                        <a:ext uri="{FF2B5EF4-FFF2-40B4-BE49-F238E27FC236}">
                                          <a16:creationId xmlns:a16="http://schemas.microsoft.com/office/drawing/2014/main" id="{8BCC139F-9FE4-8681-3EEF-B68004976D66}"/>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6" name="Rectangle 15">
                                    <a:extLst>
                                      <a:ext uri="{FF2B5EF4-FFF2-40B4-BE49-F238E27FC236}">
                                        <a16:creationId xmlns:a16="http://schemas.microsoft.com/office/drawing/2014/main" id="{BDAD6A9F-D669-C25D-0901-8F7C86665C0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048" name="Rectangle 15">
                                    <a:extLst>
                                      <a:ext uri="{FF2B5EF4-FFF2-40B4-BE49-F238E27FC236}">
                                        <a16:creationId xmlns:a16="http://schemas.microsoft.com/office/drawing/2014/main" id="{786DFA62-E830-EF2D-1153-72A1A0D96A6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44" name="Rectangle 15">
                                  <a:extLst>
                                    <a:ext uri="{FF2B5EF4-FFF2-40B4-BE49-F238E27FC236}">
                                      <a16:creationId xmlns:a16="http://schemas.microsoft.com/office/drawing/2014/main" id="{1C18A99C-8E05-10DF-7266-394F9DEC75B0}"/>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1227" name="Textfeld 1226">
                                <a:extLst>
                                  <a:ext uri="{FF2B5EF4-FFF2-40B4-BE49-F238E27FC236}">
                                    <a16:creationId xmlns:a16="http://schemas.microsoft.com/office/drawing/2014/main" id="{ADA50082-1F6F-3E21-B635-2E8471D3D4C4}"/>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grpSp>
                      </p:grpSp>
                      <mc:AlternateContent xmlns:mc="http://schemas.openxmlformats.org/markup-compatibility/2006">
                        <mc:Choice xmlns:a14="http://schemas.microsoft.com/office/drawing/2010/main"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5223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522309"/>
                                <a:ext cx="513909" cy="317203"/>
                              </a:xfrm>
                              <a:prstGeom prst="rect">
                                <a:avLst/>
                              </a:prstGeom>
                              <a:blipFill>
                                <a:blip r:embed="rId7"/>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8180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8620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4022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mc:Choice xmlns:a14="http://schemas.microsoft.com/office/drawing/2010/main"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4963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496336"/>
                            <a:ext cx="393177" cy="253916"/>
                          </a:xfrm>
                          <a:prstGeom prst="rect">
                            <a:avLst/>
                          </a:prstGeom>
                          <a:blipFill>
                            <a:blip r:embed="rId11"/>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9096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9124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mc:AlternateContent xmlns:mc="http://schemas.openxmlformats.org/markup-compatibility/2006">
                <mc:Choice xmlns:a14="http://schemas.microsoft.com/office/drawing/2010/main"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166418" y="585024"/>
                        <a:ext cx="563830" cy="26161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166418" y="585024"/>
                        <a:ext cx="563830" cy="261610"/>
                      </a:xfrm>
                      <a:prstGeom prst="rect">
                        <a:avLst/>
                      </a:prstGeom>
                      <a:blipFill>
                        <a:blip r:embed="rId12"/>
                        <a:stretch>
                          <a:fillRect/>
                        </a:stretch>
                      </a:blipFill>
                    </p:spPr>
                    <p:txBody>
                      <a:bodyPr/>
                      <a:lstStyle/>
                      <a:p>
                        <a:r>
                          <a:rPr lang="en-GB">
                            <a:noFill/>
                          </a:rPr>
                          <a:t> </a:t>
                        </a:r>
                      </a:p>
                    </p:txBody>
                  </p:sp>
                </mc:Fallback>
              </mc:AlternateContent>
            </p:grpSp>
            <mc:AlternateContent xmlns:mc="http://schemas.openxmlformats.org/markup-compatibility/2006">
              <mc:Choice xmlns:a14="http://schemas.microsoft.com/office/drawing/2010/main"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9932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993228"/>
                      <a:ext cx="513909" cy="317203"/>
                    </a:xfrm>
                    <a:prstGeom prst="rect">
                      <a:avLst/>
                    </a:prstGeom>
                    <a:blipFill>
                      <a:blip r:embed="rId13"/>
                      <a:stretch>
                        <a:fillRect r="-3571"/>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6049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3435105"/>
              <a:ext cx="3582237" cy="73021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80000">
                <a:buClrTx/>
                <a:defRPr/>
              </a:pPr>
              <a:r>
                <a:rPr lang="en-US" sz="800" kern="1200" dirty="0">
                  <a:solidFill>
                    <a:schemeClr val="tx1"/>
                  </a:solidFill>
                  <a:latin typeface="Daimler CS" pitchFamily="2" charset="0"/>
                </a:rPr>
                <a:t>One hot vector with 18 classes</a:t>
              </a:r>
            </a:p>
            <a:p>
              <a:pPr algn="ctr" defTabSz="180000">
                <a:buClrTx/>
                <a:defRPr/>
              </a:pPr>
              <a:r>
                <a:rPr lang="en-US" sz="800" kern="1200" dirty="0">
                  <a:solidFill>
                    <a:schemeClr val="tx1"/>
                  </a:solidFill>
                  <a:latin typeface="Daimler CS" pitchFamily="2" charset="0"/>
                </a:rPr>
                <a:t>1	2	3	4	5	6	7	8	9	10	11	12	13	14	15	16	17	18</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sp>
          <p:nvSpPr>
            <p:cNvPr id="2336" name="Geschweifte Klammer rechts 2335">
              <a:extLst>
                <a:ext uri="{FF2B5EF4-FFF2-40B4-BE49-F238E27FC236}">
                  <a16:creationId xmlns:a16="http://schemas.microsoft.com/office/drawing/2014/main" id="{F421FBC7-7E03-50DB-DDA1-091C0376AC3C}"/>
                </a:ext>
              </a:extLst>
            </p:cNvPr>
            <p:cNvSpPr/>
            <p:nvPr/>
          </p:nvSpPr>
          <p:spPr>
            <a:xfrm rot="5400000">
              <a:off x="7623264" y="2277785"/>
              <a:ext cx="265906" cy="2040655"/>
            </a:xfrm>
            <a:prstGeom prst="rightBrace">
              <a:avLst>
                <a:gd name="adj1" fmla="val 71859"/>
                <a:gd name="adj2" fmla="val 81273"/>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14"/>
          <a:stretch>
            <a:fillRect/>
          </a:stretch>
        </p:blipFill>
        <p:spPr>
          <a:xfrm>
            <a:off x="12668151" y="817827"/>
            <a:ext cx="1409897" cy="4248743"/>
          </a:xfrm>
          <a:prstGeom prst="rect">
            <a:avLst/>
          </a:prstGeom>
        </p:spPr>
      </p:pic>
    </p:spTree>
    <p:extLst>
      <p:ext uri="{BB962C8B-B14F-4D97-AF65-F5344CB8AC3E}">
        <p14:creationId xmlns:p14="http://schemas.microsoft.com/office/powerpoint/2010/main" val="2026228923"/>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090</Words>
  <Application>Microsoft Office PowerPoint</Application>
  <PresentationFormat>Breitbild</PresentationFormat>
  <Paragraphs>1228</Paragraphs>
  <Slides>47</Slides>
  <Notes>39</Notes>
  <HiddenSlides>12</HiddenSlides>
  <MMClips>2</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2</vt:i4>
      </vt:variant>
      <vt:variant>
        <vt:lpstr>Folientitel</vt:lpstr>
      </vt:variant>
      <vt:variant>
        <vt:i4>47</vt:i4>
      </vt:variant>
    </vt:vector>
  </HeadingPairs>
  <TitlesOfParts>
    <vt:vector size="59" baseType="lpstr">
      <vt:lpstr>-apple-system</vt: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06</cp:revision>
  <dcterms:created xsi:type="dcterms:W3CDTF">2022-02-05T01:08:08Z</dcterms:created>
  <dcterms:modified xsi:type="dcterms:W3CDTF">2024-05-18T15:0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